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86" d="100"/>
          <a:sy n="86" d="100"/>
        </p:scale>
        <p:origin x="86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4</c:f>
              <c:numCache>
                <c:formatCode>m/d/yyyy</c:formatCode>
                <c:ptCount val="25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</c:numCache>
            </c:numRef>
          </c:cat>
          <c:val>
            <c:numRef>
              <c:f>Sheet1!$D$2:$D$254</c:f>
              <c:numCache>
                <c:formatCode>#,##0</c:formatCode>
                <c:ptCount val="253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9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20</c:v>
                </c:pt>
                <c:pt idx="189">
                  <c:v>909</c:v>
                </c:pt>
                <c:pt idx="190">
                  <c:v>916</c:v>
                </c:pt>
                <c:pt idx="191">
                  <c:v>918</c:v>
                </c:pt>
                <c:pt idx="192">
                  <c:v>928</c:v>
                </c:pt>
                <c:pt idx="193">
                  <c:v>912</c:v>
                </c:pt>
                <c:pt idx="194">
                  <c:v>938</c:v>
                </c:pt>
                <c:pt idx="195">
                  <c:v>943</c:v>
                </c:pt>
                <c:pt idx="196">
                  <c:v>928</c:v>
                </c:pt>
                <c:pt idx="197">
                  <c:v>926</c:v>
                </c:pt>
                <c:pt idx="198">
                  <c:v>952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7</c:v>
                </c:pt>
                <c:pt idx="208">
                  <c:v>861</c:v>
                </c:pt>
                <c:pt idx="209">
                  <c:v>865</c:v>
                </c:pt>
                <c:pt idx="210">
                  <c:v>839</c:v>
                </c:pt>
                <c:pt idx="211">
                  <c:v>811</c:v>
                </c:pt>
                <c:pt idx="212">
                  <c:v>788</c:v>
                </c:pt>
                <c:pt idx="213">
                  <c:v>761</c:v>
                </c:pt>
                <c:pt idx="214">
                  <c:v>724</c:v>
                </c:pt>
                <c:pt idx="215">
                  <c:v>713</c:v>
                </c:pt>
                <c:pt idx="216">
                  <c:v>709</c:v>
                </c:pt>
                <c:pt idx="217">
                  <c:v>730</c:v>
                </c:pt>
                <c:pt idx="218">
                  <c:v>705</c:v>
                </c:pt>
                <c:pt idx="219">
                  <c:v>671</c:v>
                </c:pt>
                <c:pt idx="220">
                  <c:v>628</c:v>
                </c:pt>
                <c:pt idx="221">
                  <c:v>605</c:v>
                </c:pt>
                <c:pt idx="222">
                  <c:v>606</c:v>
                </c:pt>
                <c:pt idx="223">
                  <c:v>597</c:v>
                </c:pt>
                <c:pt idx="224">
                  <c:v>574</c:v>
                </c:pt>
                <c:pt idx="225">
                  <c:v>541</c:v>
                </c:pt>
                <c:pt idx="226">
                  <c:v>524</c:v>
                </c:pt>
                <c:pt idx="227">
                  <c:v>518</c:v>
                </c:pt>
                <c:pt idx="228">
                  <c:v>491</c:v>
                </c:pt>
                <c:pt idx="229">
                  <c:v>496</c:v>
                </c:pt>
                <c:pt idx="230">
                  <c:v>493</c:v>
                </c:pt>
                <c:pt idx="231">
                  <c:v>477</c:v>
                </c:pt>
                <c:pt idx="232">
                  <c:v>466</c:v>
                </c:pt>
                <c:pt idx="233">
                  <c:v>419</c:v>
                </c:pt>
                <c:pt idx="234">
                  <c:v>402</c:v>
                </c:pt>
                <c:pt idx="235">
                  <c:v>378</c:v>
                </c:pt>
                <c:pt idx="236">
                  <c:v>372</c:v>
                </c:pt>
                <c:pt idx="237">
                  <c:v>362</c:v>
                </c:pt>
                <c:pt idx="238">
                  <c:v>360</c:v>
                </c:pt>
                <c:pt idx="239">
                  <c:v>335</c:v>
                </c:pt>
                <c:pt idx="240">
                  <c:v>305</c:v>
                </c:pt>
                <c:pt idx="241">
                  <c:v>278</c:v>
                </c:pt>
                <c:pt idx="242">
                  <c:v>264</c:v>
                </c:pt>
                <c:pt idx="243" formatCode="General">
                  <c:v>270</c:v>
                </c:pt>
                <c:pt idx="244" formatCode="General">
                  <c:v>268</c:v>
                </c:pt>
                <c:pt idx="245" formatCode="General">
                  <c:v>256</c:v>
                </c:pt>
                <c:pt idx="246" formatCode="General">
                  <c:v>238</c:v>
                </c:pt>
                <c:pt idx="247" formatCode="General">
                  <c:v>224</c:v>
                </c:pt>
                <c:pt idx="248" formatCode="General">
                  <c:v>206</c:v>
                </c:pt>
                <c:pt idx="249" formatCode="General">
                  <c:v>190</c:v>
                </c:pt>
                <c:pt idx="250" formatCode="General">
                  <c:v>189</c:v>
                </c:pt>
                <c:pt idx="251" formatCode="General">
                  <c:v>191</c:v>
                </c:pt>
                <c:pt idx="252" formatCode="General">
                  <c:v>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layout>
                <c:manualLayout>
                  <c:x val="-6.4755776393715121E-3"/>
                  <c:y val="-4.583055162334306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6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11D-4C2F-96AD-66CF0CE2AC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4</c:f>
              <c:numCache>
                <c:formatCode>m/d/yyyy</c:formatCode>
                <c:ptCount val="25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</c:numCache>
            </c:numRef>
          </c:cat>
          <c:val>
            <c:numRef>
              <c:f>Sheet1!$B$2:$B$254</c:f>
              <c:numCache>
                <c:formatCode>#,##0</c:formatCode>
                <c:ptCount val="253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 formatCode="General">
                  <c:v>657</c:v>
                </c:pt>
                <c:pt idx="244" formatCode="General">
                  <c:v>642</c:v>
                </c:pt>
                <c:pt idx="245" formatCode="General">
                  <c:v>617</c:v>
                </c:pt>
                <c:pt idx="246" formatCode="General">
                  <c:v>625</c:v>
                </c:pt>
                <c:pt idx="247" formatCode="General">
                  <c:v>645</c:v>
                </c:pt>
                <c:pt idx="248" formatCode="General">
                  <c:v>650</c:v>
                </c:pt>
                <c:pt idx="249" formatCode="General">
                  <c:v>639</c:v>
                </c:pt>
                <c:pt idx="250" formatCode="General">
                  <c:v>643</c:v>
                </c:pt>
                <c:pt idx="251" formatCode="General">
                  <c:v>651</c:v>
                </c:pt>
                <c:pt idx="252" formatCode="General">
                  <c:v>6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4</c:f>
              <c:numCache>
                <c:formatCode>m/d/yyyy</c:formatCode>
                <c:ptCount val="25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</c:numCache>
            </c:numRef>
          </c:cat>
          <c:val>
            <c:numRef>
              <c:f>Sheet1!$C$2:$C$254</c:f>
              <c:numCache>
                <c:formatCode>#,##0</c:formatCode>
                <c:ptCount val="2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4</c:f>
              <c:numCache>
                <c:formatCode>m/d/yyyy</c:formatCode>
                <c:ptCount val="25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</c:numCache>
            </c:numRef>
          </c:cat>
          <c:val>
            <c:numRef>
              <c:f>Sheet1!$D$2:$D$254</c:f>
              <c:numCache>
                <c:formatCode>#,##0</c:formatCode>
                <c:ptCount val="253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0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09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4</c:v>
                </c:pt>
                <c:pt idx="136">
                  <c:v>2872</c:v>
                </c:pt>
                <c:pt idx="137">
                  <c:v>2757</c:v>
                </c:pt>
                <c:pt idx="138">
                  <c:v>2745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90</c:v>
                </c:pt>
                <c:pt idx="143">
                  <c:v>2555</c:v>
                </c:pt>
                <c:pt idx="144">
                  <c:v>2521</c:v>
                </c:pt>
                <c:pt idx="145">
                  <c:v>2522</c:v>
                </c:pt>
                <c:pt idx="146">
                  <c:v>2545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4</c:v>
                </c:pt>
                <c:pt idx="159">
                  <c:v>2409</c:v>
                </c:pt>
                <c:pt idx="160">
                  <c:v>2472</c:v>
                </c:pt>
                <c:pt idx="161">
                  <c:v>2489</c:v>
                </c:pt>
                <c:pt idx="162">
                  <c:v>2419</c:v>
                </c:pt>
                <c:pt idx="163">
                  <c:v>2453</c:v>
                </c:pt>
                <c:pt idx="164">
                  <c:v>2404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5</c:v>
                </c:pt>
                <c:pt idx="170">
                  <c:v>2756</c:v>
                </c:pt>
                <c:pt idx="171">
                  <c:v>2677</c:v>
                </c:pt>
                <c:pt idx="172">
                  <c:v>2685</c:v>
                </c:pt>
                <c:pt idx="173">
                  <c:v>2806</c:v>
                </c:pt>
                <c:pt idx="174">
                  <c:v>3000</c:v>
                </c:pt>
                <c:pt idx="175">
                  <c:v>3018</c:v>
                </c:pt>
                <c:pt idx="176">
                  <c:v>3029</c:v>
                </c:pt>
                <c:pt idx="177">
                  <c:v>3039</c:v>
                </c:pt>
                <c:pt idx="178">
                  <c:v>3125</c:v>
                </c:pt>
                <c:pt idx="179">
                  <c:v>3231</c:v>
                </c:pt>
                <c:pt idx="180">
                  <c:v>3369</c:v>
                </c:pt>
                <c:pt idx="181">
                  <c:v>3573</c:v>
                </c:pt>
                <c:pt idx="182">
                  <c:v>3618</c:v>
                </c:pt>
                <c:pt idx="183">
                  <c:v>3594</c:v>
                </c:pt>
                <c:pt idx="184">
                  <c:v>3679</c:v>
                </c:pt>
                <c:pt idx="185">
                  <c:v>3707</c:v>
                </c:pt>
                <c:pt idx="186">
                  <c:v>3786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4</c:v>
                </c:pt>
                <c:pt idx="194">
                  <c:v>4043</c:v>
                </c:pt>
                <c:pt idx="195">
                  <c:v>4188</c:v>
                </c:pt>
                <c:pt idx="196">
                  <c:v>4103</c:v>
                </c:pt>
                <c:pt idx="197">
                  <c:v>4024</c:v>
                </c:pt>
                <c:pt idx="198">
                  <c:v>3995</c:v>
                </c:pt>
                <c:pt idx="199">
                  <c:v>3792</c:v>
                </c:pt>
                <c:pt idx="200">
                  <c:v>3718</c:v>
                </c:pt>
                <c:pt idx="201">
                  <c:v>3795</c:v>
                </c:pt>
                <c:pt idx="202">
                  <c:v>3812</c:v>
                </c:pt>
                <c:pt idx="203">
                  <c:v>3682</c:v>
                </c:pt>
                <c:pt idx="204">
                  <c:v>3538</c:v>
                </c:pt>
                <c:pt idx="207">
                  <c:v>3355</c:v>
                </c:pt>
                <c:pt idx="208">
                  <c:v>3384</c:v>
                </c:pt>
                <c:pt idx="209">
                  <c:v>3357</c:v>
                </c:pt>
                <c:pt idx="210">
                  <c:v>3283</c:v>
                </c:pt>
                <c:pt idx="211">
                  <c:v>3147</c:v>
                </c:pt>
                <c:pt idx="212">
                  <c:v>2999</c:v>
                </c:pt>
                <c:pt idx="213">
                  <c:v>2814</c:v>
                </c:pt>
                <c:pt idx="214">
                  <c:v>2771</c:v>
                </c:pt>
                <c:pt idx="215">
                  <c:v>2831</c:v>
                </c:pt>
                <c:pt idx="216">
                  <c:v>2844</c:v>
                </c:pt>
                <c:pt idx="217">
                  <c:v>3043</c:v>
                </c:pt>
                <c:pt idx="218">
                  <c:v>2866</c:v>
                </c:pt>
                <c:pt idx="219">
                  <c:v>2688</c:v>
                </c:pt>
                <c:pt idx="220">
                  <c:v>2417</c:v>
                </c:pt>
                <c:pt idx="221">
                  <c:v>2322</c:v>
                </c:pt>
                <c:pt idx="222">
                  <c:v>2337</c:v>
                </c:pt>
                <c:pt idx="223">
                  <c:v>2332</c:v>
                </c:pt>
                <c:pt idx="224">
                  <c:v>2238</c:v>
                </c:pt>
                <c:pt idx="225">
                  <c:v>2108</c:v>
                </c:pt>
                <c:pt idx="226">
                  <c:v>1931</c:v>
                </c:pt>
                <c:pt idx="227">
                  <c:v>1785</c:v>
                </c:pt>
                <c:pt idx="228">
                  <c:v>1749</c:v>
                </c:pt>
                <c:pt idx="229">
                  <c:v>1756</c:v>
                </c:pt>
                <c:pt idx="230">
                  <c:v>1811</c:v>
                </c:pt>
                <c:pt idx="231">
                  <c:v>1708</c:v>
                </c:pt>
                <c:pt idx="232">
                  <c:v>1614</c:v>
                </c:pt>
                <c:pt idx="233">
                  <c:v>1527</c:v>
                </c:pt>
                <c:pt idx="234">
                  <c:v>1424</c:v>
                </c:pt>
                <c:pt idx="235">
                  <c:v>1355</c:v>
                </c:pt>
                <c:pt idx="236">
                  <c:v>1354</c:v>
                </c:pt>
                <c:pt idx="237">
                  <c:v>1303</c:v>
                </c:pt>
                <c:pt idx="238">
                  <c:v>1280</c:v>
                </c:pt>
                <c:pt idx="239">
                  <c:v>1240</c:v>
                </c:pt>
                <c:pt idx="240">
                  <c:v>1185</c:v>
                </c:pt>
                <c:pt idx="241">
                  <c:v>1139</c:v>
                </c:pt>
                <c:pt idx="242">
                  <c:v>1145</c:v>
                </c:pt>
                <c:pt idx="243">
                  <c:v>1138</c:v>
                </c:pt>
                <c:pt idx="244">
                  <c:v>1135</c:v>
                </c:pt>
                <c:pt idx="245">
                  <c:v>1066</c:v>
                </c:pt>
                <c:pt idx="246">
                  <c:v>1001</c:v>
                </c:pt>
                <c:pt idx="247" formatCode="General">
                  <c:v>930</c:v>
                </c:pt>
                <c:pt idx="248" formatCode="General">
                  <c:v>861</c:v>
                </c:pt>
                <c:pt idx="249" formatCode="General">
                  <c:v>820</c:v>
                </c:pt>
                <c:pt idx="250" formatCode="General">
                  <c:v>821</c:v>
                </c:pt>
                <c:pt idx="251" formatCode="General">
                  <c:v>776</c:v>
                </c:pt>
                <c:pt idx="252" formatCode="General">
                  <c:v>7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88F-4362-B4A6-9E19C601B0A9}"/>
                </c:ext>
              </c:extLst>
            </c:dLbl>
            <c:dLbl>
              <c:idx val="242"/>
              <c:layout>
                <c:manualLayout>
                  <c:x val="0"/>
                  <c:y val="-5.38868545776246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28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388F-4362-B4A6-9E19C601B0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4</c:f>
              <c:numCache>
                <c:formatCode>m/d/yyyy</c:formatCode>
                <c:ptCount val="25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</c:numCache>
            </c:numRef>
          </c:cat>
          <c:val>
            <c:numRef>
              <c:f>Sheet1!$B$2:$B$254</c:f>
              <c:numCache>
                <c:formatCode>#,##0</c:formatCode>
                <c:ptCount val="253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4</c:f>
              <c:numCache>
                <c:formatCode>m/d/yyyy</c:formatCode>
                <c:ptCount val="25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</c:numCache>
            </c:numRef>
          </c:cat>
          <c:val>
            <c:numRef>
              <c:f>Sheet1!$C$2:$C$254</c:f>
              <c:numCache>
                <c:formatCode>#,##0</c:formatCode>
                <c:ptCount val="2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4</c:f>
              <c:numCache>
                <c:formatCode>m/d/yyyy</c:formatCode>
                <c:ptCount val="25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</c:numCache>
            </c:numRef>
          </c:cat>
          <c:val>
            <c:numRef>
              <c:f>Sheet1!$D$2:$D$254</c:f>
              <c:numCache>
                <c:formatCode>#,##0</c:formatCode>
                <c:ptCount val="25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9</c:v>
                </c:pt>
                <c:pt idx="232">
                  <c:v>21</c:v>
                </c:pt>
                <c:pt idx="233">
                  <c:v>22</c:v>
                </c:pt>
                <c:pt idx="234">
                  <c:v>20</c:v>
                </c:pt>
                <c:pt idx="235">
                  <c:v>18</c:v>
                </c:pt>
                <c:pt idx="236">
                  <c:v>16</c:v>
                </c:pt>
                <c:pt idx="237">
                  <c:v>15</c:v>
                </c:pt>
                <c:pt idx="238">
                  <c:v>18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 formatCode="General">
                  <c:v>18</c:v>
                </c:pt>
                <c:pt idx="244" formatCode="General">
                  <c:v>16</c:v>
                </c:pt>
                <c:pt idx="245" formatCode="General">
                  <c:v>17</c:v>
                </c:pt>
                <c:pt idx="246" formatCode="General">
                  <c:v>18</c:v>
                </c:pt>
                <c:pt idx="247" formatCode="General">
                  <c:v>19</c:v>
                </c:pt>
                <c:pt idx="248" formatCode="General">
                  <c:v>16</c:v>
                </c:pt>
                <c:pt idx="249" formatCode="General">
                  <c:v>14</c:v>
                </c:pt>
                <c:pt idx="250" formatCode="General">
                  <c:v>13</c:v>
                </c:pt>
                <c:pt idx="251" formatCode="General">
                  <c:v>13</c:v>
                </c:pt>
                <c:pt idx="252" formatCode="General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layout>
                <c:manualLayout>
                  <c:x val="1.3064165799008164E-2"/>
                  <c:y val="-4.490571214802095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BD66-4A3F-B3DF-E765AF4FAB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4</c:f>
              <c:numCache>
                <c:formatCode>m/d/yyyy</c:formatCode>
                <c:ptCount val="25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</c:numCache>
            </c:numRef>
          </c:cat>
          <c:val>
            <c:numRef>
              <c:f>Sheet1!$B$2:$B$254</c:f>
              <c:numCache>
                <c:formatCode>#,##0</c:formatCode>
                <c:ptCount val="253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 formatCode="m/d/yyyy">
                  <c:v>49</c:v>
                </c:pt>
                <c:pt idx="244" formatCode="m/d/yyyy">
                  <c:v>48</c:v>
                </c:pt>
                <c:pt idx="245" formatCode="m/d/yyyy">
                  <c:v>51</c:v>
                </c:pt>
                <c:pt idx="246" formatCode="m/d/yyyy">
                  <c:v>48</c:v>
                </c:pt>
                <c:pt idx="247" formatCode="m/d/yyyy">
                  <c:v>50</c:v>
                </c:pt>
                <c:pt idx="248" formatCode="m/d/yyyy">
                  <c:v>52</c:v>
                </c:pt>
                <c:pt idx="249" formatCode="m/d/yyyy">
                  <c:v>51</c:v>
                </c:pt>
                <c:pt idx="250" formatCode="m/d/yyyy">
                  <c:v>50</c:v>
                </c:pt>
                <c:pt idx="251" formatCode="m/d/yyyy">
                  <c:v>52</c:v>
                </c:pt>
                <c:pt idx="252" formatCode="m/d/yyyy">
                  <c:v>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4</c:f>
              <c:numCache>
                <c:formatCode>m/d/yyyy</c:formatCode>
                <c:ptCount val="25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</c:numCache>
            </c:numRef>
          </c:cat>
          <c:val>
            <c:numRef>
              <c:f>Sheet1!$C$2:$C$254</c:f>
              <c:numCache>
                <c:formatCode>#,##0</c:formatCode>
                <c:ptCount val="2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4</c:f>
              <c:numCache>
                <c:formatCode>m/d/yyyy</c:formatCode>
                <c:ptCount val="25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</c:numCache>
            </c:numRef>
          </c:cat>
          <c:val>
            <c:numRef>
              <c:f>Sheet1!$D$2:$D$254</c:f>
              <c:numCache>
                <c:formatCode>#,##0</c:formatCode>
                <c:ptCount val="253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1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5</c:v>
                </c:pt>
                <c:pt idx="171">
                  <c:v>1269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7</c:v>
                </c:pt>
                <c:pt idx="183">
                  <c:v>1624</c:v>
                </c:pt>
                <c:pt idx="184">
                  <c:v>1651</c:v>
                </c:pt>
                <c:pt idx="185">
                  <c:v>1671</c:v>
                </c:pt>
                <c:pt idx="186">
                  <c:v>1673</c:v>
                </c:pt>
                <c:pt idx="187">
                  <c:v>1676</c:v>
                </c:pt>
                <c:pt idx="188">
                  <c:v>1772</c:v>
                </c:pt>
                <c:pt idx="189">
                  <c:v>1801</c:v>
                </c:pt>
                <c:pt idx="190">
                  <c:v>1830</c:v>
                </c:pt>
                <c:pt idx="191">
                  <c:v>1820</c:v>
                </c:pt>
                <c:pt idx="192">
                  <c:v>1832</c:v>
                </c:pt>
                <c:pt idx="193">
                  <c:v>1781</c:v>
                </c:pt>
                <c:pt idx="194">
                  <c:v>1828</c:v>
                </c:pt>
                <c:pt idx="195">
                  <c:v>1885</c:v>
                </c:pt>
                <c:pt idx="196">
                  <c:v>1893</c:v>
                </c:pt>
                <c:pt idx="197">
                  <c:v>1861</c:v>
                </c:pt>
                <c:pt idx="198">
                  <c:v>1859</c:v>
                </c:pt>
                <c:pt idx="199">
                  <c:v>1818</c:v>
                </c:pt>
                <c:pt idx="200">
                  <c:v>1778</c:v>
                </c:pt>
                <c:pt idx="201">
                  <c:v>1802</c:v>
                </c:pt>
                <c:pt idx="202">
                  <c:v>1822</c:v>
                </c:pt>
                <c:pt idx="203">
                  <c:v>1775</c:v>
                </c:pt>
                <c:pt idx="204">
                  <c:v>1743</c:v>
                </c:pt>
                <c:pt idx="207">
                  <c:v>1643</c:v>
                </c:pt>
                <c:pt idx="208">
                  <c:v>1652</c:v>
                </c:pt>
                <c:pt idx="209">
                  <c:v>1662</c:v>
                </c:pt>
                <c:pt idx="210">
                  <c:v>1614</c:v>
                </c:pt>
                <c:pt idx="211">
                  <c:v>1554</c:v>
                </c:pt>
                <c:pt idx="212">
                  <c:v>1505</c:v>
                </c:pt>
                <c:pt idx="213">
                  <c:v>1424</c:v>
                </c:pt>
                <c:pt idx="214">
                  <c:v>1401</c:v>
                </c:pt>
                <c:pt idx="215">
                  <c:v>1379</c:v>
                </c:pt>
                <c:pt idx="216">
                  <c:v>1345</c:v>
                </c:pt>
                <c:pt idx="217">
                  <c:v>1395</c:v>
                </c:pt>
                <c:pt idx="218">
                  <c:v>1362</c:v>
                </c:pt>
                <c:pt idx="219">
                  <c:v>1315</c:v>
                </c:pt>
                <c:pt idx="220">
                  <c:v>1238</c:v>
                </c:pt>
                <c:pt idx="221">
                  <c:v>1221</c:v>
                </c:pt>
                <c:pt idx="222">
                  <c:v>1203</c:v>
                </c:pt>
                <c:pt idx="223">
                  <c:v>1189</c:v>
                </c:pt>
                <c:pt idx="224">
                  <c:v>1160</c:v>
                </c:pt>
                <c:pt idx="225">
                  <c:v>1116</c:v>
                </c:pt>
                <c:pt idx="226">
                  <c:v>1039</c:v>
                </c:pt>
                <c:pt idx="227">
                  <c:v>1017</c:v>
                </c:pt>
                <c:pt idx="228">
                  <c:v>977</c:v>
                </c:pt>
                <c:pt idx="229">
                  <c:v>979</c:v>
                </c:pt>
                <c:pt idx="230">
                  <c:v>997</c:v>
                </c:pt>
                <c:pt idx="231">
                  <c:v>946</c:v>
                </c:pt>
                <c:pt idx="232">
                  <c:v>912</c:v>
                </c:pt>
                <c:pt idx="233">
                  <c:v>837</c:v>
                </c:pt>
                <c:pt idx="234">
                  <c:v>790</c:v>
                </c:pt>
                <c:pt idx="235">
                  <c:v>754</c:v>
                </c:pt>
                <c:pt idx="236">
                  <c:v>764</c:v>
                </c:pt>
                <c:pt idx="237">
                  <c:v>742</c:v>
                </c:pt>
                <c:pt idx="238">
                  <c:v>716</c:v>
                </c:pt>
                <c:pt idx="239">
                  <c:v>690</c:v>
                </c:pt>
                <c:pt idx="240">
                  <c:v>641</c:v>
                </c:pt>
                <c:pt idx="241">
                  <c:v>581</c:v>
                </c:pt>
                <c:pt idx="242">
                  <c:v>560</c:v>
                </c:pt>
                <c:pt idx="243" formatCode="General">
                  <c:v>566</c:v>
                </c:pt>
                <c:pt idx="244" formatCode="General">
                  <c:v>572</c:v>
                </c:pt>
                <c:pt idx="245" formatCode="General">
                  <c:v>553</c:v>
                </c:pt>
                <c:pt idx="246" formatCode="General">
                  <c:v>509</c:v>
                </c:pt>
                <c:pt idx="247" formatCode="General">
                  <c:v>470</c:v>
                </c:pt>
                <c:pt idx="248" formatCode="General">
                  <c:v>447</c:v>
                </c:pt>
                <c:pt idx="249" formatCode="General">
                  <c:v>419</c:v>
                </c:pt>
                <c:pt idx="250" formatCode="General">
                  <c:v>420</c:v>
                </c:pt>
                <c:pt idx="251" formatCode="General">
                  <c:v>424</c:v>
                </c:pt>
                <c:pt idx="252" formatCode="General">
                  <c:v>3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4835-4E6D-B4DA-45D31FA05971}"/>
                </c:ext>
              </c:extLst>
            </c:dLbl>
            <c:dLbl>
              <c:idx val="20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835-4E6D-B4DA-45D31FA05971}"/>
                </c:ext>
              </c:extLst>
            </c:dLbl>
            <c:dLbl>
              <c:idx val="242"/>
              <c:layout>
                <c:manualLayout>
                  <c:x val="1.079262939895252E-2"/>
                  <c:y val="8.5756141270750715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58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4835-4E6D-B4DA-45D31FA05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4</c:f>
              <c:numCache>
                <c:formatCode>m/d/yyyy</c:formatCode>
                <c:ptCount val="25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</c:numCache>
            </c:numRef>
          </c:cat>
          <c:val>
            <c:numRef>
              <c:f>Sheet1!$B$2:$B$254</c:f>
              <c:numCache>
                <c:formatCode>#,##0</c:formatCode>
                <c:ptCount val="253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4</c:f>
              <c:numCache>
                <c:formatCode>m/d/yyyy</c:formatCode>
                <c:ptCount val="25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</c:numCache>
            </c:numRef>
          </c:cat>
          <c:val>
            <c:numRef>
              <c:f>Sheet1!$C$2:$C$254</c:f>
              <c:numCache>
                <c:formatCode>#,##0</c:formatCode>
                <c:ptCount val="25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2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2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2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12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11867767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22140185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54725935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26997860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2639708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287763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79</TotalTime>
  <Words>1040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Talábová Adriana Bc.</cp:lastModifiedBy>
  <cp:revision>668</cp:revision>
  <dcterms:created xsi:type="dcterms:W3CDTF">2020-08-08T14:25:07Z</dcterms:created>
  <dcterms:modified xsi:type="dcterms:W3CDTF">2021-05-12T03:25:00Z</dcterms:modified>
</cp:coreProperties>
</file>